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Lst>
  <p:notesMasterIdLst>
    <p:notesMasterId r:id="rId3"/>
  </p:notesMasterIdLst>
  <p:handoutMasterIdLst>
    <p:handoutMasterId r:id="rId4"/>
  </p:handoutMasterIdLst>
  <p:sldIdLst>
    <p:sldId id="360" r:id="rId2"/>
  </p:sldIdLst>
  <p:sldSz cx="9144000" cy="6858000" type="screen4x3"/>
  <p:notesSz cx="6808788" cy="9940925"/>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693">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40" autoAdjust="0"/>
    <p:restoredTop sz="94660"/>
  </p:normalViewPr>
  <p:slideViewPr>
    <p:cSldViewPr snapToGrid="0" showGuides="1">
      <p:cViewPr varScale="1">
        <p:scale>
          <a:sx n="110" d="100"/>
          <a:sy n="110" d="100"/>
        </p:scale>
        <p:origin x="1422" y="78"/>
      </p:cViewPr>
      <p:guideLst>
        <p:guide orient="horz" pos="2160"/>
        <p:guide pos="2880"/>
        <p:guide pos="2693"/>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13EE4A28-8FCA-4B67-B71F-4BF329E9D0A8}" type="datetimeFigureOut">
              <a:rPr lang="en-GB" smtClean="0"/>
              <a:t>09/10/2020</a:t>
            </a:fld>
            <a:endParaRPr lang="en-GB"/>
          </a:p>
        </p:txBody>
      </p:sp>
      <p:sp>
        <p:nvSpPr>
          <p:cNvPr id="4" name="Fußzeilenplatzhalt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1C6EF99F-C35D-4FF2-845E-FCCC5818ED60}" type="datetimeFigureOut">
              <a:rPr lang="en-GB" smtClean="0"/>
              <a:t>09/10/2020</a:t>
            </a:fld>
            <a:endParaRPr lang="en-GB" dirty="0"/>
          </a:p>
        </p:txBody>
      </p:sp>
      <p:sp>
        <p:nvSpPr>
          <p:cNvPr id="4" name="Folienbildplatzhalter 3"/>
          <p:cNvSpPr>
            <a:spLocks noGrp="1" noRot="1" noChangeAspect="1"/>
          </p:cNvSpPr>
          <p:nvPr>
            <p:ph type="sldImg" idx="2"/>
          </p:nvPr>
        </p:nvSpPr>
        <p:spPr>
          <a:xfrm>
            <a:off x="1147763" y="915988"/>
            <a:ext cx="4513262" cy="338613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1596" y="4563048"/>
            <a:ext cx="5945597" cy="4632308"/>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6662603A-E5E5-4962-A7E9-98BDF8B03EB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8"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6662603A-E5E5-4962-A7E9-98BDF8B03E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0CEE6DB0-F588-451A-B056-CBF8C8421A80}"/>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09 October 2020</a:t>
            </a:fld>
            <a:endParaRPr lang="en-GB" dirty="0">
              <a:solidFill>
                <a:srgbClr val="7F7F7F"/>
              </a:solidFill>
            </a:endParaRPr>
          </a:p>
        </p:txBody>
      </p:sp>
      <p:sp>
        <p:nvSpPr>
          <p:cNvPr id="5" name="Slide Number Placeholder 4">
            <a:extLst>
              <a:ext uri="{FF2B5EF4-FFF2-40B4-BE49-F238E27FC236}">
                <a16:creationId xmlns:a16="http://schemas.microsoft.com/office/drawing/2014/main" id="{9DA5C8E0-CDDA-436A-91F8-C903D03A3F22}"/>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60451A36-7B2B-4EF1-857D-3ED175380F69}"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6" name="Group 7">
            <a:extLst>
              <a:ext uri="{FF2B5EF4-FFF2-40B4-BE49-F238E27FC236}">
                <a16:creationId xmlns:a16="http://schemas.microsoft.com/office/drawing/2014/main" id="{20BC799A-8D74-4531-A751-1F5C1F946759}"/>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5632B269-EC55-43A6-952B-13604E47FFF5}"/>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9">
              <a:extLst>
                <a:ext uri="{FF2B5EF4-FFF2-40B4-BE49-F238E27FC236}">
                  <a16:creationId xmlns:a16="http://schemas.microsoft.com/office/drawing/2014/main" id="{920F7B84-FBA2-4A84-B9DD-0564F1805834}"/>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0">
              <a:extLst>
                <a:ext uri="{FF2B5EF4-FFF2-40B4-BE49-F238E27FC236}">
                  <a16:creationId xmlns:a16="http://schemas.microsoft.com/office/drawing/2014/main" id="{1BE63E81-0CDD-456E-8361-F2A4B06956F1}"/>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10" name="Straight Connector 9">
            <a:extLst>
              <a:ext uri="{FF2B5EF4-FFF2-40B4-BE49-F238E27FC236}">
                <a16:creationId xmlns:a16="http://schemas.microsoft.com/office/drawing/2014/main" id="{84F425AE-0637-4A5C-8AD8-E3594A43B828}"/>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6CB09F99-8107-4563-8E3E-E25C954CA8F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9"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6CB09F99-8107-4563-8E3E-E25C954CA8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75907246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a:extLst>
              <a:ext uri="{FF2B5EF4-FFF2-40B4-BE49-F238E27FC236}">
                <a16:creationId xmlns:a16="http://schemas.microsoft.com/office/drawing/2014/main" id="{B8A9B5B2-5923-4D69-AB90-2ABF7B3567C2}"/>
              </a:ext>
            </a:extLst>
          </p:cNvPr>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4" name="think-cell Folie" r:id="rId6" imgW="360" imgH="360" progId="TCLayout.ActiveDocument.1">
                  <p:embed/>
                </p:oleObj>
              </mc:Choice>
              <mc:Fallback>
                <p:oleObj name="think-cell Folie" r:id="rId6" imgW="360" imgH="360" progId="TCLayout.ActiveDocument.1">
                  <p:embed/>
                  <p:pic>
                    <p:nvPicPr>
                      <p:cNvPr id="3074" name="Objekt 84" hidden="1">
                        <a:extLst>
                          <a:ext uri="{FF2B5EF4-FFF2-40B4-BE49-F238E27FC236}">
                            <a16:creationId xmlns:a16="http://schemas.microsoft.com/office/drawing/2014/main" id="{B8A9B5B2-5923-4D69-AB90-2ABF7B3567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a:extLst>
              <a:ext uri="{FF2B5EF4-FFF2-40B4-BE49-F238E27FC236}">
                <a16:creationId xmlns:a16="http://schemas.microsoft.com/office/drawing/2014/main" id="{0220E04D-68E9-4630-A6AC-59890C31C4E6}"/>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fr-FR" noProof="1"/>
              <a:t>Titelmasterformat durch Klicken bearbeiten</a:t>
            </a:r>
            <a:endParaRPr lang="en-GB" altLang="fr-FR"/>
          </a:p>
        </p:txBody>
      </p:sp>
      <p:sp>
        <p:nvSpPr>
          <p:cNvPr id="3076" name="Textplatzhalter 2">
            <a:extLst>
              <a:ext uri="{FF2B5EF4-FFF2-40B4-BE49-F238E27FC236}">
                <a16:creationId xmlns:a16="http://schemas.microsoft.com/office/drawing/2014/main" id="{ACE36F5B-6D5D-465C-BE53-91F27D8F557F}"/>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49171E63-CC51-4789-BEE3-958295FA299D}"/>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09 October 2020</a:t>
            </a:fld>
            <a:endParaRPr lang="en-GB" dirty="0">
              <a:solidFill>
                <a:srgbClr val="7F7F7F"/>
              </a:solidFill>
            </a:endParaRPr>
          </a:p>
        </p:txBody>
      </p:sp>
      <p:sp>
        <p:nvSpPr>
          <p:cNvPr id="87" name="Slide Number Placeholder 4">
            <a:extLst>
              <a:ext uri="{FF2B5EF4-FFF2-40B4-BE49-F238E27FC236}">
                <a16:creationId xmlns:a16="http://schemas.microsoft.com/office/drawing/2014/main" id="{DCBF4421-BC20-4B06-8993-F5D78731DFBF}"/>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F9DF0F4F-4826-4E5C-95BF-C558D9228153}"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grpSp>
        <p:nvGrpSpPr>
          <p:cNvPr id="3079" name="Group 7">
            <a:extLst>
              <a:ext uri="{FF2B5EF4-FFF2-40B4-BE49-F238E27FC236}">
                <a16:creationId xmlns:a16="http://schemas.microsoft.com/office/drawing/2014/main" id="{E1E3A287-ED78-4D1E-A18A-0BE8D3F1EBB9}"/>
              </a:ext>
            </a:extLst>
          </p:cNvPr>
          <p:cNvGrpSpPr>
            <a:grpSpLocks/>
          </p:cNvGrpSpPr>
          <p:nvPr/>
        </p:nvGrpSpPr>
        <p:grpSpPr bwMode="auto">
          <a:xfrm>
            <a:off x="7723188" y="6499225"/>
            <a:ext cx="920750" cy="252413"/>
            <a:chOff x="1005" y="1644"/>
            <a:chExt cx="3749" cy="1030"/>
          </a:xfrm>
        </p:grpSpPr>
        <p:sp>
          <p:nvSpPr>
            <p:cNvPr id="3082" name="Freeform 8">
              <a:extLst>
                <a:ext uri="{FF2B5EF4-FFF2-40B4-BE49-F238E27FC236}">
                  <a16:creationId xmlns:a16="http://schemas.microsoft.com/office/drawing/2014/main" id="{0407AA08-BE11-49DC-A916-452F9D8F6383}"/>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9">
              <a:extLst>
                <a:ext uri="{FF2B5EF4-FFF2-40B4-BE49-F238E27FC236}">
                  <a16:creationId xmlns:a16="http://schemas.microsoft.com/office/drawing/2014/main" id="{27694F50-8847-46CC-AF63-73280E80F2CF}"/>
                </a:ext>
              </a:extLst>
            </p:cNvPr>
            <p:cNvSpPr>
              <a:spLocks noEditPoints="1"/>
            </p:cNvSpPr>
            <p:nvPr userDrawn="1"/>
          </p:nvSpPr>
          <p:spPr bwMode="auto">
            <a:xfrm>
              <a:off x="1005" y="1644"/>
              <a:ext cx="1183" cy="1014"/>
            </a:xfrm>
            <a:custGeom>
              <a:avLst/>
              <a:gdLst>
                <a:gd name="T0" fmla="*/ 1934767 w 501"/>
                <a:gd name="T1" fmla="*/ 1703806 h 429"/>
                <a:gd name="T2" fmla="*/ 1825400 w 501"/>
                <a:gd name="T3" fmla="*/ 1561728 h 429"/>
                <a:gd name="T4" fmla="*/ 1784956 w 501"/>
                <a:gd name="T5" fmla="*/ 1508168 h 429"/>
                <a:gd name="T6" fmla="*/ 1552016 w 501"/>
                <a:gd name="T7" fmla="*/ 1397956 h 429"/>
                <a:gd name="T8" fmla="*/ 1250403 w 501"/>
                <a:gd name="T9" fmla="*/ 1703806 h 429"/>
                <a:gd name="T10" fmla="*/ 1552016 w 501"/>
                <a:gd name="T11" fmla="*/ 2003033 h 429"/>
                <a:gd name="T12" fmla="*/ 1784956 w 501"/>
                <a:gd name="T13" fmla="*/ 1894733 h 429"/>
                <a:gd name="T14" fmla="*/ 1825400 w 501"/>
                <a:gd name="T15" fmla="*/ 1840358 h 429"/>
                <a:gd name="T16" fmla="*/ 1934767 w 501"/>
                <a:gd name="T17" fmla="*/ 1703806 h 429"/>
                <a:gd name="T18" fmla="*/ 873751 w 501"/>
                <a:gd name="T19" fmla="*/ 1696871 h 429"/>
                <a:gd name="T20" fmla="*/ 1552016 w 501"/>
                <a:gd name="T21" fmla="*/ 1021694 h 429"/>
                <a:gd name="T22" fmla="*/ 2070120 w 501"/>
                <a:gd name="T23" fmla="*/ 1261629 h 429"/>
                <a:gd name="T24" fmla="*/ 2073950 w 501"/>
                <a:gd name="T25" fmla="*/ 1273104 h 429"/>
                <a:gd name="T26" fmla="*/ 2085697 w 501"/>
                <a:gd name="T27" fmla="*/ 1268242 h 429"/>
                <a:gd name="T28" fmla="*/ 1346131 w 501"/>
                <a:gd name="T29" fmla="*/ 0 h 429"/>
                <a:gd name="T30" fmla="*/ 0 w 501"/>
                <a:gd name="T31" fmla="*/ 2335256 h 429"/>
                <a:gd name="T32" fmla="*/ 1314204 w 501"/>
                <a:gd name="T33" fmla="*/ 2335256 h 429"/>
                <a:gd name="T34" fmla="*/ 1321168 w 501"/>
                <a:gd name="T35" fmla="*/ 2330385 h 429"/>
                <a:gd name="T36" fmla="*/ 1184934 w 501"/>
                <a:gd name="T37" fmla="*/ 2271053 h 429"/>
                <a:gd name="T38" fmla="*/ 873751 w 501"/>
                <a:gd name="T39" fmla="*/ 1696871 h 429"/>
                <a:gd name="T40" fmla="*/ 2672288 w 501"/>
                <a:gd name="T41" fmla="*/ 2323362 h 429"/>
                <a:gd name="T42" fmla="*/ 2533115 w 501"/>
                <a:gd name="T43" fmla="*/ 2286253 h 429"/>
                <a:gd name="T44" fmla="*/ 2181053 w 501"/>
                <a:gd name="T45" fmla="*/ 1996110 h 429"/>
                <a:gd name="T46" fmla="*/ 2046871 w 501"/>
                <a:gd name="T47" fmla="*/ 2166797 h 429"/>
                <a:gd name="T48" fmla="*/ 1793853 w 501"/>
                <a:gd name="T49" fmla="*/ 2330385 h 429"/>
                <a:gd name="T50" fmla="*/ 1793853 w 501"/>
                <a:gd name="T51" fmla="*/ 2335256 h 429"/>
                <a:gd name="T52" fmla="*/ 2699308 w 501"/>
                <a:gd name="T53" fmla="*/ 2335256 h 429"/>
                <a:gd name="T54" fmla="*/ 2699308 w 501"/>
                <a:gd name="T55" fmla="*/ 2330385 h 429"/>
                <a:gd name="T56" fmla="*/ 2672288 w 501"/>
                <a:gd name="T57" fmla="*/ 2323362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4" name="Freeform 10">
              <a:extLst>
                <a:ext uri="{FF2B5EF4-FFF2-40B4-BE49-F238E27FC236}">
                  <a16:creationId xmlns:a16="http://schemas.microsoft.com/office/drawing/2014/main" id="{949AC342-91C7-45CA-A7BE-8C03F49B8DF4}"/>
                </a:ext>
              </a:extLst>
            </p:cNvPr>
            <p:cNvSpPr>
              <a:spLocks noEditPoints="1"/>
            </p:cNvSpPr>
            <p:nvPr userDrawn="1"/>
          </p:nvSpPr>
          <p:spPr bwMode="auto">
            <a:xfrm>
              <a:off x="2540" y="1904"/>
              <a:ext cx="2214" cy="770"/>
            </a:xfrm>
            <a:custGeom>
              <a:avLst/>
              <a:gdLst>
                <a:gd name="T0" fmla="*/ 928091 w 937"/>
                <a:gd name="T1" fmla="*/ 734124 h 326"/>
                <a:gd name="T2" fmla="*/ 422676 w 937"/>
                <a:gd name="T3" fmla="*/ 480648 h 326"/>
                <a:gd name="T4" fmla="*/ 677321 w 937"/>
                <a:gd name="T5" fmla="*/ 285812 h 326"/>
                <a:gd name="T6" fmla="*/ 1007505 w 937"/>
                <a:gd name="T7" fmla="*/ 539654 h 326"/>
                <a:gd name="T8" fmla="*/ 1373115 w 937"/>
                <a:gd name="T9" fmla="*/ 539654 h 326"/>
                <a:gd name="T10" fmla="*/ 693655 w 937"/>
                <a:gd name="T11" fmla="*/ 0 h 326"/>
                <a:gd name="T12" fmla="*/ 64206 w 937"/>
                <a:gd name="T13" fmla="*/ 507687 h 326"/>
                <a:gd name="T14" fmla="*/ 564542 w 937"/>
                <a:gd name="T15" fmla="*/ 988028 h 326"/>
                <a:gd name="T16" fmla="*/ 1067888 w 937"/>
                <a:gd name="T17" fmla="*/ 1265304 h 326"/>
                <a:gd name="T18" fmla="*/ 736541 w 937"/>
                <a:gd name="T19" fmla="*/ 1475204 h 326"/>
                <a:gd name="T20" fmla="*/ 362309 w 937"/>
                <a:gd name="T21" fmla="*/ 1162324 h 326"/>
                <a:gd name="T22" fmla="*/ 4867 w 937"/>
                <a:gd name="T23" fmla="*/ 1162324 h 326"/>
                <a:gd name="T24" fmla="*/ 727759 w 937"/>
                <a:gd name="T25" fmla="*/ 1761880 h 326"/>
                <a:gd name="T26" fmla="*/ 1425329 w 937"/>
                <a:gd name="T27" fmla="*/ 1221359 h 326"/>
                <a:gd name="T28" fmla="*/ 928091 w 937"/>
                <a:gd name="T29" fmla="*/ 734124 h 326"/>
                <a:gd name="T30" fmla="*/ 2934320 w 937"/>
                <a:gd name="T31" fmla="*/ 654942 h 326"/>
                <a:gd name="T32" fmla="*/ 2934320 w 937"/>
                <a:gd name="T33" fmla="*/ 654942 h 326"/>
                <a:gd name="T34" fmla="*/ 2567158 w 937"/>
                <a:gd name="T35" fmla="*/ 468786 h 326"/>
                <a:gd name="T36" fmla="*/ 2029739 w 937"/>
                <a:gd name="T37" fmla="*/ 1102406 h 326"/>
                <a:gd name="T38" fmla="*/ 2575851 w 937"/>
                <a:gd name="T39" fmla="*/ 1757350 h 326"/>
                <a:gd name="T40" fmla="*/ 2945983 w 937"/>
                <a:gd name="T41" fmla="*/ 1567361 h 326"/>
                <a:gd name="T42" fmla="*/ 2950031 w 937"/>
                <a:gd name="T43" fmla="*/ 1567361 h 326"/>
                <a:gd name="T44" fmla="*/ 2950031 w 937"/>
                <a:gd name="T45" fmla="*/ 1723303 h 326"/>
                <a:gd name="T46" fmla="*/ 3271590 w 937"/>
                <a:gd name="T47" fmla="*/ 1723303 h 326"/>
                <a:gd name="T48" fmla="*/ 3271590 w 937"/>
                <a:gd name="T49" fmla="*/ 43392 h 326"/>
                <a:gd name="T50" fmla="*/ 2934320 w 937"/>
                <a:gd name="T51" fmla="*/ 43392 h 326"/>
                <a:gd name="T52" fmla="*/ 2934320 w 937"/>
                <a:gd name="T53" fmla="*/ 654942 h 326"/>
                <a:gd name="T54" fmla="*/ 2658487 w 937"/>
                <a:gd name="T55" fmla="*/ 1503493 h 326"/>
                <a:gd name="T56" fmla="*/ 2364921 w 937"/>
                <a:gd name="T57" fmla="*/ 1113859 h 326"/>
                <a:gd name="T58" fmla="*/ 2658487 w 937"/>
                <a:gd name="T59" fmla="*/ 725437 h 326"/>
                <a:gd name="T60" fmla="*/ 2945983 w 937"/>
                <a:gd name="T61" fmla="*/ 1107255 h 326"/>
                <a:gd name="T62" fmla="*/ 2658487 w 937"/>
                <a:gd name="T63" fmla="*/ 1503493 h 326"/>
                <a:gd name="T64" fmla="*/ 4019608 w 937"/>
                <a:gd name="T65" fmla="*/ 468786 h 326"/>
                <a:gd name="T66" fmla="*/ 3395685 w 937"/>
                <a:gd name="T67" fmla="*/ 1113859 h 326"/>
                <a:gd name="T68" fmla="*/ 4019608 w 937"/>
                <a:gd name="T69" fmla="*/ 1757350 h 326"/>
                <a:gd name="T70" fmla="*/ 4589232 w 937"/>
                <a:gd name="T71" fmla="*/ 1345667 h 326"/>
                <a:gd name="T72" fmla="*/ 4295444 w 937"/>
                <a:gd name="T73" fmla="*/ 1345667 h 326"/>
                <a:gd name="T74" fmla="*/ 4031479 w 937"/>
                <a:gd name="T75" fmla="*/ 1503493 h 326"/>
                <a:gd name="T76" fmla="*/ 3726412 w 937"/>
                <a:gd name="T77" fmla="*/ 1194279 h 326"/>
                <a:gd name="T78" fmla="*/ 4610458 w 937"/>
                <a:gd name="T79" fmla="*/ 1194279 h 326"/>
                <a:gd name="T80" fmla="*/ 4019608 w 937"/>
                <a:gd name="T81" fmla="*/ 468786 h 326"/>
                <a:gd name="T82" fmla="*/ 3726412 w 937"/>
                <a:gd name="T83" fmla="*/ 984353 h 326"/>
                <a:gd name="T84" fmla="*/ 4009013 w 937"/>
                <a:gd name="T85" fmla="*/ 725437 h 326"/>
                <a:gd name="T86" fmla="*/ 4275404 w 937"/>
                <a:gd name="T87" fmla="*/ 984353 h 326"/>
                <a:gd name="T88" fmla="*/ 3726412 w 937"/>
                <a:gd name="T89" fmla="*/ 984353 h 326"/>
                <a:gd name="T90" fmla="*/ 4747390 w 937"/>
                <a:gd name="T91" fmla="*/ 1723303 h 326"/>
                <a:gd name="T92" fmla="*/ 5082576 w 937"/>
                <a:gd name="T93" fmla="*/ 1723303 h 326"/>
                <a:gd name="T94" fmla="*/ 5082576 w 937"/>
                <a:gd name="T95" fmla="*/ 43392 h 326"/>
                <a:gd name="T96" fmla="*/ 4747390 w 937"/>
                <a:gd name="T97" fmla="*/ 43392 h 326"/>
                <a:gd name="T98" fmla="*/ 4747390 w 937"/>
                <a:gd name="T99" fmla="*/ 1723303 h 326"/>
                <a:gd name="T100" fmla="*/ 1551513 w 937"/>
                <a:gd name="T101" fmla="*/ 1723303 h 326"/>
                <a:gd name="T102" fmla="*/ 1886973 w 937"/>
                <a:gd name="T103" fmla="*/ 1723303 h 326"/>
                <a:gd name="T104" fmla="*/ 1886973 w 937"/>
                <a:gd name="T105" fmla="*/ 503549 h 326"/>
                <a:gd name="T106" fmla="*/ 1551513 w 937"/>
                <a:gd name="T107" fmla="*/ 503549 h 326"/>
                <a:gd name="T108" fmla="*/ 1551513 w 937"/>
                <a:gd name="T109" fmla="*/ 1723303 h 326"/>
                <a:gd name="T110" fmla="*/ 1551513 w 937"/>
                <a:gd name="T111" fmla="*/ 317923 h 326"/>
                <a:gd name="T112" fmla="*/ 1886973 w 937"/>
                <a:gd name="T113" fmla="*/ 317923 h 326"/>
                <a:gd name="T114" fmla="*/ 1886973 w 937"/>
                <a:gd name="T115" fmla="*/ 43392 h 326"/>
                <a:gd name="T116" fmla="*/ 1551513 w 937"/>
                <a:gd name="T117" fmla="*/ 43392 h 326"/>
                <a:gd name="T118" fmla="*/ 1551513 w 937"/>
                <a:gd name="T119" fmla="*/ 317923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49" name="Straight Connector 48">
            <a:extLst>
              <a:ext uri="{FF2B5EF4-FFF2-40B4-BE49-F238E27FC236}">
                <a16:creationId xmlns:a16="http://schemas.microsoft.com/office/drawing/2014/main" id="{5F24772F-1776-41B6-B35F-9D0063217E83}"/>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ContentMarking" descr="{&quot;HashCode&quot;:238713050,&quot;Placement&quot;:&quot;Footer&quot;}">
            <a:extLst>
              <a:ext uri="{FF2B5EF4-FFF2-40B4-BE49-F238E27FC236}">
                <a16:creationId xmlns:a16="http://schemas.microsoft.com/office/drawing/2014/main" id="{7A6CB49C-CA36-47C2-A41D-64EE3872938E}"/>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1874300505"/>
      </p:ext>
    </p:extLst>
  </p:cSld>
  <p:clrMap bg1="dk1" tx1="lt1" bg2="dk2" tx2="lt2" accent1="accent1" accent2="accent2" accent3="accent3" accent4="accent4" accent5="accent5" accent6="accent6" hlink="hlink" folHlink="folHlink"/>
  <p:sldLayoutIdLst>
    <p:sldLayoutId id="2147483693" r:id="rId1"/>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2">
            <a:extLst>
              <a:ext uri="{FF2B5EF4-FFF2-40B4-BE49-F238E27FC236}">
                <a16:creationId xmlns:a16="http://schemas.microsoft.com/office/drawing/2014/main" id="{DDF07B9C-6857-4720-9580-6D46B016E08D}"/>
              </a:ext>
            </a:extLst>
          </p:cNvPr>
          <p:cNvGrpSpPr>
            <a:grpSpLocks/>
          </p:cNvGrpSpPr>
          <p:nvPr/>
        </p:nvGrpSpPr>
        <p:grpSpPr bwMode="auto">
          <a:xfrm>
            <a:off x="651885" y="1680780"/>
            <a:ext cx="7997390" cy="4226243"/>
            <a:chOff x="650875" y="1906363"/>
            <a:chExt cx="7991475" cy="4042393"/>
          </a:xfrm>
        </p:grpSpPr>
        <p:sp>
          <p:nvSpPr>
            <p:cNvPr id="14" name="Rechteck 3">
              <a:extLst>
                <a:ext uri="{FF2B5EF4-FFF2-40B4-BE49-F238E27FC236}">
                  <a16:creationId xmlns:a16="http://schemas.microsoft.com/office/drawing/2014/main" id="{17ED6647-1D43-4F26-9208-B8F20993AD05}"/>
                </a:ext>
              </a:extLst>
            </p:cNvPr>
            <p:cNvSpPr/>
            <p:nvPr/>
          </p:nvSpPr>
          <p:spPr>
            <a:xfrm>
              <a:off x="650875" y="1906363"/>
              <a:ext cx="3889375" cy="38914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0" marR="0" lvl="0" indent="0" algn="l" defTabSz="862049" rtl="0" eaLnBrk="1" fontAlgn="auto" latinLnBrk="0" hangingPunct="1">
                <a:lnSpc>
                  <a:spcPct val="100000"/>
                </a:lnSpc>
                <a:spcBef>
                  <a:spcPts val="283"/>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17" name="Rechteck 4">
              <a:extLst>
                <a:ext uri="{FF2B5EF4-FFF2-40B4-BE49-F238E27FC236}">
                  <a16:creationId xmlns:a16="http://schemas.microsoft.com/office/drawing/2014/main" id="{047B57BA-8F50-4693-9A54-489E8CA646E6}"/>
                </a:ext>
              </a:extLst>
            </p:cNvPr>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131"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hteck 11">
              <a:extLst>
                <a:ext uri="{FF2B5EF4-FFF2-40B4-BE49-F238E27FC236}">
                  <a16:creationId xmlns:a16="http://schemas.microsoft.com/office/drawing/2014/main" id="{3EE4DACF-5B69-4CE5-82ED-68284FFEC58A}"/>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nchor="ctr"/>
            <a:lstStyle/>
            <a:p>
              <a:pPr marL="179593" marR="0" lvl="0" indent="-179593" algn="l" defTabSz="862049" rtl="0" eaLnBrk="1" fontAlgn="base" latinLnBrk="0" hangingPunct="1">
                <a:lnSpc>
                  <a:spcPct val="100000"/>
                </a:lnSpc>
                <a:spcBef>
                  <a:spcPts val="283"/>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9" name="Rechteck 12">
              <a:extLst>
                <a:ext uri="{FF2B5EF4-FFF2-40B4-BE49-F238E27FC236}">
                  <a16:creationId xmlns:a16="http://schemas.microsoft.com/office/drawing/2014/main" id="{F6D26BB8-C7F0-4B7D-81EA-8F97DDCB327E}"/>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1822" tIns="67881" rIns="101822" bIns="67881"/>
            <a:lstStyle/>
            <a:p>
              <a:pPr marL="323268" marR="0" lvl="0" indent="-323268" algn="l" defTabSz="862049"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131" b="0" i="0" u="none" strike="noStrike" kern="1200" cap="none" spc="0" normalizeH="0" baseline="0" noProof="0" dirty="0">
                <a:ln>
                  <a:noFill/>
                </a:ln>
                <a:solidFill>
                  <a:srgbClr val="000000"/>
                </a:solidFill>
                <a:effectLst/>
                <a:uLnTx/>
                <a:uFillTx/>
                <a:latin typeface="Arial"/>
                <a:ea typeface="宋体" charset="-122"/>
                <a:cs typeface="+mn-cs"/>
              </a:endParaRPr>
            </a:p>
          </p:txBody>
        </p:sp>
      </p:grpSp>
      <p:sp>
        <p:nvSpPr>
          <p:cNvPr id="7" name="Titre 6"/>
          <p:cNvSpPr>
            <a:spLocks noGrp="1"/>
          </p:cNvSpPr>
          <p:nvPr>
            <p:ph type="title"/>
          </p:nvPr>
        </p:nvSpPr>
        <p:spPr>
          <a:xfrm>
            <a:off x="647700" y="334800"/>
            <a:ext cx="7993063" cy="461665"/>
          </a:xfrm>
        </p:spPr>
        <p:txBody>
          <a:bodyPr/>
          <a:lstStyle/>
          <a:p>
            <a:r>
              <a:rPr lang="en-US" dirty="0"/>
              <a:t>Increase equipment efficiency</a:t>
            </a:r>
            <a:endParaRPr lang="fr-FR" dirty="0"/>
          </a:p>
        </p:txBody>
      </p:sp>
      <p:sp>
        <p:nvSpPr>
          <p:cNvPr id="16" name="Text Placeholder 2"/>
          <p:cNvSpPr txBox="1">
            <a:spLocks/>
          </p:cNvSpPr>
          <p:nvPr/>
        </p:nvSpPr>
        <p:spPr>
          <a:xfrm>
            <a:off x="645482" y="5943885"/>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r>
              <a:rPr lang="en-US" sz="800" kern="0" dirty="0"/>
              <a:t>Value: </a:t>
            </a:r>
            <a:r>
              <a:rPr lang="fr-FR" sz="800" kern="0" dirty="0" err="1">
                <a:solidFill>
                  <a:srgbClr val="000000"/>
                </a:solidFill>
              </a:rPr>
              <a:t>Efficiency</a:t>
            </a:r>
            <a:endParaRPr lang="en-US" sz="800" kern="0" dirty="0">
              <a:solidFill>
                <a:srgbClr val="000000"/>
              </a:solidFill>
            </a:endParaRPr>
          </a:p>
          <a:p>
            <a:r>
              <a:rPr lang="en-US" sz="800" kern="0" dirty="0"/>
              <a:t>Equipment: Pal/</a:t>
            </a:r>
            <a:r>
              <a:rPr lang="en-US" sz="800" kern="0" dirty="0" err="1"/>
              <a:t>Depal</a:t>
            </a:r>
            <a:r>
              <a:rPr lang="en-US" sz="800" kern="0" dirty="0"/>
              <a:t> </a:t>
            </a:r>
          </a:p>
          <a:p>
            <a:r>
              <a:rPr lang="en-US" sz="800" kern="0" dirty="0"/>
              <a:t>Catalogue code: EOL019</a:t>
            </a:r>
          </a:p>
        </p:txBody>
      </p:sp>
      <p:sp>
        <p:nvSpPr>
          <p:cNvPr id="20" name="Rettangolo 11">
            <a:extLst>
              <a:ext uri="{FF2B5EF4-FFF2-40B4-BE49-F238E27FC236}">
                <a16:creationId xmlns:a16="http://schemas.microsoft.com/office/drawing/2014/main" id="{C0CF5502-49D7-4B02-9212-84E6BE1157BE}"/>
              </a:ext>
            </a:extLst>
          </p:cNvPr>
          <p:cNvSpPr/>
          <p:nvPr/>
        </p:nvSpPr>
        <p:spPr>
          <a:xfrm>
            <a:off x="647127" y="2071627"/>
            <a:ext cx="3897012" cy="1800493"/>
          </a:xfrm>
          <a:prstGeom prst="rect">
            <a:avLst/>
          </a:prstGeom>
        </p:spPr>
        <p:txBody>
          <a:bodyPr wrap="square">
            <a:spAutoFit/>
          </a:bodyPr>
          <a:lstStyle/>
          <a:p>
            <a:pPr>
              <a:buClr>
                <a:schemeClr val="accent4"/>
              </a:buClr>
            </a:pPr>
            <a:endParaRPr lang="en-US" sz="1000" b="1" dirty="0"/>
          </a:p>
          <a:p>
            <a:pPr lvl="0">
              <a:buClr>
                <a:srgbClr val="ED7D31"/>
              </a:buClr>
              <a:buSzPts val="1400"/>
            </a:pPr>
            <a:r>
              <a:rPr lang="fr-FR" sz="1000" b="1" i="1" dirty="0" err="1">
                <a:latin typeface="Arial" panose="020B0604020202020204" pitchFamily="34" charset="0"/>
                <a:ea typeface="Times" panose="02020603050405020304" pitchFamily="18" charset="0"/>
                <a:cs typeface="Arial" panose="020B0604020202020204" pitchFamily="34" charset="0"/>
              </a:rPr>
              <a:t>Efficiency</a:t>
            </a:r>
            <a:endParaRPr lang="fr-FR" sz="1000" b="1" i="1" dirty="0">
              <a:latin typeface="Arial" panose="020B0604020202020204" pitchFamily="34" charset="0"/>
              <a:ea typeface="Times" panose="02020603050405020304" pitchFamily="18" charset="0"/>
              <a:cs typeface="Arial" panose="020B0604020202020204" pitchFamily="34" charset="0"/>
            </a:endParaRPr>
          </a:p>
          <a:p>
            <a:pPr lvl="0">
              <a:buClr>
                <a:srgbClr val="ED7D31"/>
              </a:buClr>
              <a:buSzPts val="1400"/>
            </a:pPr>
            <a:endParaRPr lang="it-IT" sz="1100" dirty="0">
              <a:latin typeface="Arial" panose="020B0604020202020204" pitchFamily="34" charset="0"/>
              <a:ea typeface="Times" panose="02020603050405020304" pitchFamily="18" charset="0"/>
              <a:cs typeface="Times New Roman" panose="02020603050405020304" pitchFamily="18" charset="0"/>
            </a:endParaRPr>
          </a:p>
          <a:p>
            <a:pPr marL="180000" indent="-180000">
              <a:buClr>
                <a:schemeClr val="accent4"/>
              </a:buClr>
              <a:buFont typeface="Wingdings" panose="05000000000000000000" pitchFamily="2" charset="2"/>
              <a:buChar char="§"/>
            </a:pPr>
            <a:r>
              <a:rPr lang="en-GB" sz="1000" b="1" dirty="0"/>
              <a:t>ADVANCED DIAGNOSTIC </a:t>
            </a:r>
            <a:r>
              <a:rPr lang="en-GB" sz="1000" dirty="0"/>
              <a:t>: Enable new diagnostic and interactive feedback features with     direct link to SOP &amp; CILT</a:t>
            </a:r>
          </a:p>
          <a:p>
            <a:pPr marL="180000" indent="-180000">
              <a:buClr>
                <a:schemeClr val="accent4"/>
              </a:buClr>
              <a:buFont typeface="Wingdings" panose="05000000000000000000" pitchFamily="2" charset="2"/>
              <a:buChar char="§"/>
            </a:pPr>
            <a:r>
              <a:rPr lang="en-GB" sz="1000" b="1" dirty="0"/>
              <a:t>ALARM LOCALIZATION </a:t>
            </a:r>
            <a:r>
              <a:rPr lang="en-GB" sz="1000" dirty="0"/>
              <a:t>: Identification of areas in fault.</a:t>
            </a:r>
          </a:p>
          <a:p>
            <a:pPr marL="180000" indent="-180000">
              <a:buClr>
                <a:schemeClr val="accent4"/>
              </a:buClr>
              <a:buFont typeface="Wingdings" panose="05000000000000000000" pitchFamily="2" charset="2"/>
              <a:buChar char="§"/>
            </a:pPr>
            <a:r>
              <a:rPr lang="en-GB" sz="1000" b="1" dirty="0"/>
              <a:t>ASSISTED RESTART </a:t>
            </a:r>
            <a:r>
              <a:rPr lang="en-GB" sz="1000" dirty="0"/>
              <a:t>: Quick way to restore jam at the inlet.</a:t>
            </a:r>
          </a:p>
          <a:p>
            <a:pPr marL="180000" indent="-180000">
              <a:buClr>
                <a:schemeClr val="accent4"/>
              </a:buClr>
              <a:buFont typeface="Wingdings" panose="05000000000000000000" pitchFamily="2" charset="2"/>
              <a:buChar char="§"/>
            </a:pPr>
            <a:r>
              <a:rPr lang="en-GB" sz="1000" b="1" dirty="0"/>
              <a:t>INTUITIVE CONTEXTUAL HELP </a:t>
            </a:r>
            <a:r>
              <a:rPr lang="en-GB" sz="1000" dirty="0"/>
              <a:t>:Explanation of each function with a simple command on the panel. </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1" name="Rettangolo 11">
            <a:extLst>
              <a:ext uri="{FF2B5EF4-FFF2-40B4-BE49-F238E27FC236}">
                <a16:creationId xmlns:a16="http://schemas.microsoft.com/office/drawing/2014/main" id="{34BE8169-7803-43BE-9802-0670554A92A4}"/>
              </a:ext>
            </a:extLst>
          </p:cNvPr>
          <p:cNvSpPr/>
          <p:nvPr/>
        </p:nvSpPr>
        <p:spPr>
          <a:xfrm>
            <a:off x="4743751" y="2071627"/>
            <a:ext cx="3897012" cy="3477875"/>
          </a:xfrm>
          <a:prstGeom prst="rect">
            <a:avLst/>
          </a:prstGeom>
        </p:spPr>
        <p:txBody>
          <a:bodyPr wrap="square">
            <a:spAutoFit/>
          </a:bodyPr>
          <a:lstStyle/>
          <a:p>
            <a:pPr>
              <a:buClr>
                <a:schemeClr val="accent4"/>
              </a:buClr>
            </a:pPr>
            <a:endParaRPr lang="en-US" sz="1000" b="1" dirty="0"/>
          </a:p>
          <a:p>
            <a:pPr>
              <a:buClr>
                <a:schemeClr val="accent4"/>
              </a:buClr>
            </a:pPr>
            <a:r>
              <a:rPr lang="en-GB" sz="1000" dirty="0"/>
              <a:t>Smart HMI is a modular multi-touch interface designed for the operation of SIDEL machines. The user-centric application simplifies daily work with an easy-to-understand alarm and alarm system, contextual help and descriptions of descriptive and work processes. The HMI uses notifications and known operations from interaction with smartphones. All central parameters can be displayed quickly, via the header or in a more detailed synoptic view. Because the system supports all popular media formats, additional material (such as training videos or troubleshooting guides) can be made available through the HMI at any time.</a:t>
            </a:r>
          </a:p>
          <a:p>
            <a:pPr>
              <a:buClr>
                <a:schemeClr val="accent4"/>
              </a:buClr>
            </a:pPr>
            <a:r>
              <a:rPr lang="en-GB" sz="1000" dirty="0"/>
              <a:t>“Smart Machine HMI” (Hardware and Software), enabler for :</a:t>
            </a:r>
          </a:p>
          <a:p>
            <a:pPr marL="180000" indent="-180000">
              <a:buClr>
                <a:schemeClr val="accent4"/>
              </a:buClr>
              <a:buFont typeface="Wingdings" panose="05000000000000000000" pitchFamily="2" charset="2"/>
              <a:buChar char="§"/>
            </a:pPr>
            <a:r>
              <a:rPr lang="en-GB" sz="1000" dirty="0"/>
              <a:t>Focus on operator for Improved User Experience</a:t>
            </a:r>
          </a:p>
          <a:p>
            <a:pPr marL="180000" indent="-180000">
              <a:buClr>
                <a:schemeClr val="accent4"/>
              </a:buClr>
              <a:buFont typeface="Wingdings" panose="05000000000000000000" pitchFamily="2" charset="2"/>
              <a:buChar char="§"/>
            </a:pPr>
            <a:r>
              <a:rPr lang="en-GB" sz="1000" dirty="0"/>
              <a:t>Industry 4.0, Internet of Things, Big Data</a:t>
            </a:r>
          </a:p>
          <a:p>
            <a:pPr marL="180000" indent="-180000">
              <a:buClr>
                <a:schemeClr val="accent4"/>
              </a:buClr>
              <a:buFont typeface="Wingdings" panose="05000000000000000000" pitchFamily="2" charset="2"/>
              <a:buChar char="§"/>
            </a:pPr>
            <a:r>
              <a:rPr lang="en-GB" sz="1000" dirty="0"/>
              <a:t>Value-added Applications and services</a:t>
            </a:r>
          </a:p>
          <a:p>
            <a:pPr marL="180000" indent="-180000">
              <a:buClr>
                <a:schemeClr val="accent4"/>
              </a:buClr>
              <a:buFont typeface="Wingdings" panose="05000000000000000000" pitchFamily="2" charset="2"/>
              <a:buChar char="§"/>
            </a:pPr>
            <a:r>
              <a:rPr lang="en-GB" sz="1000" dirty="0"/>
              <a:t>Modern look &amp; feel, intuitive and user friendly</a:t>
            </a:r>
          </a:p>
          <a:p>
            <a:pPr marL="180000" indent="-180000">
              <a:buClr>
                <a:schemeClr val="accent4"/>
              </a:buClr>
              <a:buFont typeface="Wingdings" panose="05000000000000000000" pitchFamily="2" charset="2"/>
              <a:buChar char="§"/>
            </a:pPr>
            <a:r>
              <a:rPr lang="en-GB" sz="1000" dirty="0"/>
              <a:t>User-centric application simplifies daily work with an easy-to-understand alarm and alarm system</a:t>
            </a:r>
          </a:p>
          <a:p>
            <a:pPr marL="180000" indent="-180000">
              <a:buClr>
                <a:schemeClr val="accent4"/>
              </a:buClr>
              <a:buFont typeface="Wingdings" panose="05000000000000000000" pitchFamily="2" charset="2"/>
              <a:buChar char="§"/>
            </a:pPr>
            <a:r>
              <a:rPr lang="en-GB" sz="1000" dirty="0"/>
              <a:t>Notifications and known operations from interaction with smartphones</a:t>
            </a:r>
          </a:p>
          <a:p>
            <a:pPr marL="180000" indent="-180000">
              <a:buClr>
                <a:schemeClr val="accent4"/>
              </a:buClr>
              <a:buFont typeface="Wingdings" panose="05000000000000000000" pitchFamily="2" charset="2"/>
              <a:buChar char="§"/>
            </a:pPr>
            <a:endParaRPr lang="en-US" sz="1000" dirty="0"/>
          </a:p>
          <a:p>
            <a:pPr>
              <a:buClr>
                <a:schemeClr val="accent4"/>
              </a:buClr>
            </a:pPr>
            <a:endParaRPr lang="en-US" sz="1000" b="1" dirty="0"/>
          </a:p>
        </p:txBody>
      </p:sp>
      <p:sp>
        <p:nvSpPr>
          <p:cNvPr id="22" name="Text Placeholder 2">
            <a:extLst>
              <a:ext uri="{FF2B5EF4-FFF2-40B4-BE49-F238E27FC236}">
                <a16:creationId xmlns:a16="http://schemas.microsoft.com/office/drawing/2014/main" id="{B25C61E8-69CE-4C5D-A95E-7FC22DAD394D}"/>
              </a:ext>
            </a:extLst>
          </p:cNvPr>
          <p:cNvSpPr txBox="1">
            <a:spLocks/>
          </p:cNvSpPr>
          <p:nvPr/>
        </p:nvSpPr>
        <p:spPr bwMode="auto">
          <a:xfrm>
            <a:off x="645482" y="1391855"/>
            <a:ext cx="753903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it-IT" dirty="0">
                <a:cs typeface="Calibri" panose="020F0502020204030204" pitchFamily="34" charset="0"/>
              </a:rPr>
              <a:t>SMART HMI</a:t>
            </a:r>
            <a:endParaRPr lang="fr-FR" altLang="fr-FR" dirty="0"/>
          </a:p>
        </p:txBody>
      </p:sp>
      <p:pic>
        <p:nvPicPr>
          <p:cNvPr id="26" name="Picture 25">
            <a:extLst>
              <a:ext uri="{FF2B5EF4-FFF2-40B4-BE49-F238E27FC236}">
                <a16:creationId xmlns:a16="http://schemas.microsoft.com/office/drawing/2014/main" id="{41B33475-8F17-476B-8CDC-8C741BC1564F}"/>
              </a:ext>
            </a:extLst>
          </p:cNvPr>
          <p:cNvPicPr/>
          <p:nvPr/>
        </p:nvPicPr>
        <p:blipFill>
          <a:blip r:embed="rId2" cstate="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rot="21440773">
            <a:off x="842419" y="3678720"/>
            <a:ext cx="1481998" cy="84159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7" name="Picture 26">
            <a:extLst>
              <a:ext uri="{FF2B5EF4-FFF2-40B4-BE49-F238E27FC236}">
                <a16:creationId xmlns:a16="http://schemas.microsoft.com/office/drawing/2014/main" id="{E8AD22B4-4057-4694-BB2E-DF55A8E26337}"/>
              </a:ext>
            </a:extLst>
          </p:cNvPr>
          <p:cNvPicPr/>
          <p:nvPr/>
        </p:nvPicPr>
        <p:blipFill>
          <a:blip r:embed="rId4" cstate="print">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rot="21446574">
            <a:off x="2376380" y="4524998"/>
            <a:ext cx="1793601" cy="115008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8" name="Picture 27">
            <a:extLst>
              <a:ext uri="{FF2B5EF4-FFF2-40B4-BE49-F238E27FC236}">
                <a16:creationId xmlns:a16="http://schemas.microsoft.com/office/drawing/2014/main" id="{FF422206-649B-4925-A791-48191E604046}"/>
              </a:ext>
            </a:extLst>
          </p:cNvPr>
          <p:cNvPicPr/>
          <p:nvPr/>
        </p:nvPicPr>
        <p:blipFill>
          <a:blip r:embed="rId6" cstate="print">
            <a:extLst>
              <a:ext uri="{BEBA8EAE-BF5A-486C-A8C5-ECC9F3942E4B}">
                <a14:imgProps xmlns:a14="http://schemas.microsoft.com/office/drawing/2010/main">
                  <a14:imgLayer r:embed="rId7">
                    <a14:imgEffect>
                      <a14:backgroundRemoval t="0" b="89966" l="9871" r="100000">
                        <a14:backgroundMark x1="67096" y1="5272" x2="67096" y2="5272"/>
                        <a14:backgroundMark x1="62518" y1="5952" x2="62518" y2="5952"/>
                        <a14:backgroundMark x1="50501" y1="6122" x2="50501" y2="6122"/>
                        <a14:backgroundMark x1="55079" y1="1020" x2="55079" y2="1020"/>
                        <a14:backgroundMark x1="56652" y1="2381" x2="56652" y2="2381"/>
                        <a14:backgroundMark x1="59084" y1="3061" x2="59084" y2="3061"/>
                        <a14:backgroundMark x1="73247" y1="5442" x2="73247" y2="5442"/>
                        <a14:backgroundMark x1="73104" y1="10714" x2="73104" y2="10714"/>
                        <a14:backgroundMark x1="70672" y1="13435" x2="70672" y2="13435"/>
                        <a14:backgroundMark x1="72532" y1="15646" x2="72532" y2="15646"/>
                        <a14:backgroundMark x1="75250" y1="15646" x2="75250" y2="15646"/>
                        <a14:backgroundMark x1="76967" y1="11735" x2="76967" y2="11735"/>
                        <a14:backgroundMark x1="91130" y1="45578" x2="91130" y2="45578"/>
                        <a14:backgroundMark x1="91559" y1="42007" x2="91559" y2="42007"/>
                        <a14:backgroundMark x1="91559" y1="42007" x2="91559" y2="42007"/>
                        <a14:backgroundMark x1="92847" y1="33333" x2="92847" y2="33333"/>
                        <a14:backgroundMark x1="90415" y1="32143" x2="90415" y2="32143"/>
                        <a14:backgroundMark x1="88698" y1="29082" x2="88698" y2="29082"/>
                        <a14:backgroundMark x1="95279" y1="49660" x2="95279" y2="49660"/>
                        <a14:backgroundMark x1="97425" y1="47789" x2="97425" y2="47789"/>
                        <a14:backgroundMark x1="96567" y1="45408" x2="96567" y2="45408"/>
                        <a14:backgroundMark x1="94850" y1="45238" x2="94850" y2="45238"/>
                        <a14:backgroundMark x1="93705" y1="47279" x2="93705" y2="47279"/>
                        <a14:backgroundMark x1="96280" y1="52041" x2="96280" y2="52041"/>
                        <a14:backgroundMark x1="96137" y1="35714" x2="96137" y2="35714"/>
                        <a14:backgroundMark x1="95279" y1="30952" x2="95279" y2="30952"/>
                        <a14:backgroundMark x1="94707" y1="25000" x2="94707" y2="25000"/>
                        <a14:backgroundMark x1="93562" y1="84184" x2="93562" y2="84184"/>
                        <a14:backgroundMark x1="88126" y1="46088" x2="88126" y2="46088"/>
                      </a14:backgroundRemoval>
                    </a14:imgEffect>
                  </a14:imgLayer>
                </a14:imgProps>
              </a:ext>
              <a:ext uri="{28A0092B-C50C-407E-A947-70E740481C1C}">
                <a14:useLocalDpi xmlns:a14="http://schemas.microsoft.com/office/drawing/2010/main" val="0"/>
              </a:ext>
            </a:extLst>
          </a:blip>
          <a:stretch>
            <a:fillRect/>
          </a:stretch>
        </p:blipFill>
        <p:spPr>
          <a:xfrm>
            <a:off x="2886253" y="4502952"/>
            <a:ext cx="1623866" cy="1495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96735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50"/>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7</TotalTime>
  <Words>239</Words>
  <Application>Microsoft Office PowerPoint</Application>
  <PresentationFormat>On-screen Show (4:3)</PresentationFormat>
  <Paragraphs>23</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MS PGothic</vt:lpstr>
      <vt:lpstr>宋体</vt:lpstr>
      <vt:lpstr>Arial</vt:lpstr>
      <vt:lpstr>Calibri</vt:lpstr>
      <vt:lpstr>Times</vt:lpstr>
      <vt:lpstr>Times New Roman</vt:lpstr>
      <vt:lpstr>Wingdings</vt:lpstr>
      <vt:lpstr>NewSidel_Template_4x3_with add layouts</vt:lpstr>
      <vt:lpstr>think-cell Folie</vt:lpstr>
      <vt:lpstr>Increase equipment efficiency</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40 pt</dc:title>
  <dc:creator>Cardarelli, Francesca</dc:creator>
  <cp:lastModifiedBy>Sorega, Dan</cp:lastModifiedBy>
  <cp:revision>66</cp:revision>
  <cp:lastPrinted>2017-09-01T14:01:41Z</cp:lastPrinted>
  <dcterms:created xsi:type="dcterms:W3CDTF">2017-07-10T14:51:51Z</dcterms:created>
  <dcterms:modified xsi:type="dcterms:W3CDTF">2020-10-09T14: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Ref">
    <vt:lpwstr>https://api.informationprotection.azure.com/api/2390cbd1-e663-4321-bc93-ba298637ce52</vt:lpwstr>
  </property>
  <property fmtid="{D5CDD505-2E9C-101B-9397-08002B2CF9AE}" pid="7" name="MSIP_Label_94480757-a570-4f64-84e7-c5b3ffe9d573_Owner">
    <vt:lpwstr>107200@sidel.com</vt:lpwstr>
  </property>
  <property fmtid="{D5CDD505-2E9C-101B-9397-08002B2CF9AE}" pid="8" name="MSIP_Label_94480757-a570-4f64-84e7-c5b3ffe9d573_SetDate">
    <vt:lpwstr>2019-06-26T15:49:55.8651607+02:00</vt:lpwstr>
  </property>
  <property fmtid="{D5CDD505-2E9C-101B-9397-08002B2CF9AE}" pid="9" name="MSIP_Label_94480757-a570-4f64-84e7-c5b3ffe9d573_Name">
    <vt:lpwstr>General</vt:lpwstr>
  </property>
  <property fmtid="{D5CDD505-2E9C-101B-9397-08002B2CF9AE}" pid="10" name="MSIP_Label_94480757-a570-4f64-84e7-c5b3ffe9d573_Application">
    <vt:lpwstr>Microsoft Azure Information Protection</vt:lpwstr>
  </property>
  <property fmtid="{D5CDD505-2E9C-101B-9397-08002B2CF9AE}" pid="11" name="MSIP_Label_94480757-a570-4f64-84e7-c5b3ffe9d573_Extended_MSFT_Method">
    <vt:lpwstr>Automatic</vt:lpwstr>
  </property>
  <property fmtid="{D5CDD505-2E9C-101B-9397-08002B2CF9AE}" pid="12" name="Sensitivity">
    <vt:lpwstr>General</vt:lpwstr>
  </property>
</Properties>
</file>